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handoutMasterIdLst>
    <p:handoutMasterId r:id="rId4"/>
  </p:handoutMasterIdLst>
  <p:sldIdLst>
    <p:sldId id="325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9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763" y="8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1/04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1/04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oleObject" Target="../embeddings/oleObject8.bin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28442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303685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69160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38173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84494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02883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32247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806188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99700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899306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027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>
                <a:defRPr/>
              </a:pPr>
              <a:t>11 April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mtClean="0">
                <a:solidFill>
                  <a:srgbClr val="7F7F7F"/>
                </a:solidFill>
              </a:rPr>
              <a:pPr>
                <a:defRPr/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01284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fontAlgn="base">
              <a:spcBef>
                <a:spcPts val="800"/>
              </a:spcBef>
              <a:spcAft>
                <a:spcPct val="0"/>
              </a:spcAft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fontAlgn="base">
              <a:spcBef>
                <a:spcPts val="800"/>
              </a:spcBef>
              <a:spcAft>
                <a:spcPct val="0"/>
              </a:spcAft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fontAlgn="base">
              <a:spcBef>
                <a:spcPts val="800"/>
              </a:spcBef>
              <a:spcAft>
                <a:spcPct val="0"/>
              </a:spcAft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ts val="800"/>
              </a:spcBef>
              <a:spcAft>
                <a:spcPct val="0"/>
              </a:spcAft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7513386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025091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30A8CE32-E3E5-40B7-B631-13AF916692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30A8CE32-E3E5-40B7-B631-13AF9166927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17E170-7CEB-440A-943C-1E03678B1948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00">
                <a:solidFill>
                  <a:srgbClr val="7F7F7F"/>
                </a:solidFill>
              </a:rPr>
              <a:t>Sidel Services: Line Improvement, </a:t>
            </a:r>
            <a:fld id="{28D42760-A8C4-47D6-9CEA-D7BA0EA39985}" type="datetime4">
              <a:rPr lang="de-CH" altLang="fr-FR" sz="900" smtClean="0">
                <a:solidFill>
                  <a:srgbClr val="7F7F7F"/>
                </a:solidFill>
              </a:rPr>
              <a:pPr>
                <a:buSzPct val="100000"/>
                <a:defRPr/>
              </a:pPr>
              <a:t>11. April 2018</a:t>
            </a:fld>
            <a:endParaRPr lang="de-CH" altLang="fr-FR" sz="90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6C1369-72F8-4CD9-8750-170A89B0871C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de-CH" altLang="fr-FR" sz="900">
                <a:solidFill>
                  <a:srgbClr val="7F7F7F"/>
                </a:solidFill>
              </a:rPr>
              <a:t>Página </a:t>
            </a:r>
            <a:fld id="{A69ED0C3-2E19-403B-A0DA-A3A4816839A4}" type="slidenum">
              <a:rPr lang="de-CH" altLang="fr-FR" sz="900">
                <a:solidFill>
                  <a:srgbClr val="7F7F7F"/>
                </a:solidFill>
              </a:rPr>
              <a:pPr>
                <a:buSzPct val="100000"/>
              </a:pPr>
              <a:t>‹N°›</a:t>
            </a:fld>
            <a:endParaRPr lang="de-CH" altLang="fr-FR" sz="90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BA780E98-72C6-4930-9038-661D7A62C9B6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B1B75DEA-968B-4272-AF3C-9EE45FFE35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C281DD8-796B-4D74-84D1-C99978CBFA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0C99D6BC-DA3E-44C2-8D9B-A36B924F70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73B01CEE-8BF1-4DB4-BE98-237110B8053F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CE47C79F-A49D-4D47-87FF-F501D91167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CE47C79F-A49D-4D47-87FF-F501D911674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64074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477482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329828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00963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402266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02802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248360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785305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>
                <a:defRPr/>
              </a:pPr>
              <a:t>11 April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mtClean="0">
                <a:solidFill>
                  <a:srgbClr val="7F7F7F"/>
                </a:solidFill>
              </a:rPr>
              <a:pPr>
                <a:defRPr/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5"/>
    </p:custDataLst>
    <p:extLst>
      <p:ext uri="{BB962C8B-B14F-4D97-AF65-F5344CB8AC3E}">
        <p14:creationId xmlns:p14="http://schemas.microsoft.com/office/powerpoint/2010/main" val="105077203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fontAlgn="base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fontAlgn="base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fontAlgn="base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fontAlgn="base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Evite el tiempo de paradas causado por componentes obsoletos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3879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Conversión del autómata Siemens S5 al S7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</a:t>
            </a:r>
            <a:r>
              <a:rPr kumimoji="0" lang="fr-FR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olescencia</a:t>
            </a:r>
            <a:endParaRPr kumimoji="0" lang="es-E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sopladoras Series 1 (SBO 2, SBO 4, SBO 6, SBO 10, SBO 16, SBO 24, SBO 40).</a:t>
            </a:r>
            <a:endParaRPr kumimoji="0" lang="es-E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423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/>
                        <a:t>Desde 2014, Siemens suspenderá la producción de los componentes S5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/>
                        <a:t>Opte por esta actualización para evitar posibles fallos que mantengan a su equipo parado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 durante más de 10 semanas</a:t>
                      </a:r>
                      <a:r>
                        <a:rPr lang="en-US" sz="1200" b="0" dirty="0"/>
                        <a:t> — el tiempo medio necesario para modificar el software y el hardware —. 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/>
                        <a:t>Una conversión del programa S5 al S7 (hardware y software), realizada por los ingenieros de Sidel, le permitirá realizar todas las actualizaciones que sean necesarias para su máquina en el futuro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/>
                        <a:t>Para asegurar una conversión perfecta, el nuevo software S7 se ensaya en un banco de pruebas antes de instalarlo en la máquina.</a:t>
                      </a:r>
                    </a:p>
                  </a:txBody>
                  <a:tcPr marL="108011" marR="108011" marT="72000" marB="72000" horzOverflow="overflow">
                    <a:lnL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ueva programación del software S7, personalizada según las opciones específicas que se encuentren en el equipo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os componentes del S7 se arman y cablean en Sidel para ahorrar tiempo en su planta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ara la SBO con pirómetro, también se incluye una nueva pantalla LCD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2" name="Picture 11" descr="S7.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7352" y="3969060"/>
            <a:ext cx="1503515" cy="1378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00F65BCD-25C1-4658-8A0D-94C2E53DA3F4}"/>
              </a:ext>
            </a:extLst>
          </p:cNvPr>
          <p:cNvSpPr/>
          <p:nvPr/>
        </p:nvSpPr>
        <p:spPr>
          <a:xfrm>
            <a:off x="4771170" y="1743075"/>
            <a:ext cx="3878540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PCIÓN</a:t>
            </a:r>
            <a:endParaRPr kumimoji="0" lang="es-E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3206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1_FINAL</Template>
  <TotalTime>0</TotalTime>
  <Words>208</Words>
  <Application>Microsoft Office PowerPoint</Application>
  <PresentationFormat>Affichage à l'écran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_NewSidel_Template_4x3_with add layouts</vt:lpstr>
      <vt:lpstr>think-cell Folie</vt:lpstr>
      <vt:lpstr>Evite el tiempo de paradas causado por componentes obsoletos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rease PCC processing power</dc:title>
  <dc:creator>Sorega, Dan</dc:creator>
  <cp:lastModifiedBy>Sorega, Dan</cp:lastModifiedBy>
  <cp:revision>6</cp:revision>
  <dcterms:created xsi:type="dcterms:W3CDTF">2018-04-10T08:59:12Z</dcterms:created>
  <dcterms:modified xsi:type="dcterms:W3CDTF">2018-04-11T14:0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8-04-10T10:59:34.3671323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8-04-10T10:59:34.3671323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</Properties>
</file>